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59" r:id="rId3"/>
    <p:sldId id="311" r:id="rId4"/>
    <p:sldId id="299" r:id="rId5"/>
    <p:sldId id="303" r:id="rId6"/>
    <p:sldId id="257" r:id="rId7"/>
    <p:sldId id="258" r:id="rId8"/>
    <p:sldId id="314" r:id="rId9"/>
    <p:sldId id="260" r:id="rId10"/>
    <p:sldId id="261" r:id="rId11"/>
    <p:sldId id="262" r:id="rId12"/>
    <p:sldId id="315" r:id="rId13"/>
    <p:sldId id="316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6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3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4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ourier New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task模块</a:t>
            </a:r>
            <a:endParaRPr lang="zh-CN"/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5475794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ReplacementStrategy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-1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95378" y="572069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410570" y="1143569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410570" y="1143569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410570" y="1715069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943970" y="1920706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43969" y="3129108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612413" y="114356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86998" y="1197426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09350" y="2292625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86147" y="2298901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09350" y="342388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86147" y="342388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09350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09350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58323" y="1979599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58323" y="3070512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609350" y="4452199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86147" y="4452199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609350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58323" y="410647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wrapper.c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 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.rs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常见的缓冲区溢出、越界等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实现的功能</a:t>
            </a:r>
            <a:endParaRPr lang="zh-CN" sz="2400" b="1" dirty="0">
              <a:latin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项目成果概述</a:t>
            </a:r>
            <a:endParaRPr lang="en-US" altLang="zh-CN" sz="4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n-ea"/>
              <a:cs typeface="Arial"/>
            </a:endParaRPr>
          </a:p>
          <a:p>
            <a:pPr>
              <a:defRPr/>
            </a:pPr>
            <a:r>
              <a:rPr lang="zh-CN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n-ea"/>
                <a:cs typeface="Arial"/>
              </a:rPr>
              <a:t>同类项目对比</a:t>
            </a:r>
            <a:endParaRPr lang="zh-CN" sz="2400" b="1" dirty="0">
              <a:latin typeface="+mn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基本方法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将源码的函数进行拆分为各种简单的函数或方法，然后整合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dirty="0"/>
              <a:t>改写原则：</a:t>
            </a:r>
            <a:endParaRPr lang="en-US" altLang="zh-CN" sz="1600" dirty="0"/>
          </a:p>
          <a:p>
            <a:pPr>
              <a:defRPr/>
            </a:pPr>
            <a:r>
              <a:rPr lang="zh-CN" sz="1600" dirty="0"/>
              <a:t>保留源码中的所有函数，函数的命名相应的改为符合</a:t>
            </a:r>
            <a:r>
              <a:rPr lang="en-US" sz="1600" dirty="0"/>
              <a:t>Rust</a:t>
            </a:r>
            <a:r>
              <a:rPr lang="zh-CN" sz="1600" dirty="0"/>
              <a:t>命名规范的版本，如“</a:t>
            </a:r>
            <a:r>
              <a:rPr lang="en-US" sz="1600" dirty="0" err="1"/>
              <a:t>vInitialiseList</a:t>
            </a:r>
            <a:r>
              <a:rPr lang="zh-CN" sz="1600" dirty="0"/>
              <a:t>”改为“</a:t>
            </a:r>
            <a:r>
              <a:rPr lang="en-US" sz="1600" dirty="0" err="1"/>
              <a:t>initialize_list</a:t>
            </a:r>
            <a:r>
              <a:rPr lang="zh-CN" sz="1600" dirty="0"/>
              <a:t>”</a:t>
            </a:r>
            <a:endParaRPr sz="16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</TotalTime>
  <Words>1277</Words>
  <Application>Microsoft Office PowerPoint</Application>
  <DocSecurity>0</DocSecurity>
  <PresentationFormat>宽屏</PresentationFormat>
  <Paragraphs>175</Paragraphs>
  <Slides>23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3</vt:i4>
      </vt:variant>
    </vt:vector>
  </HeadingPairs>
  <TitlesOfParts>
    <vt:vector size="33" baseType="lpstr">
      <vt:lpstr>等线</vt:lpstr>
      <vt:lpstr>等线 Light</vt:lpstr>
      <vt:lpstr>微软雅黑</vt:lpstr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Rust改写——task模块</vt:lpstr>
      <vt:lpstr>Rust改写——task模块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47</cp:revision>
  <dcterms:created xsi:type="dcterms:W3CDTF">2019-08-16T12:08:31Z</dcterms:created>
  <dcterms:modified xsi:type="dcterms:W3CDTF">2024-07-05T11:41:11Z</dcterms:modified>
  <cp:category/>
  <dc:identifier/>
  <cp:contentStatus/>
  <dc:language/>
  <cp:version/>
</cp:coreProperties>
</file>